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"/>
  </p:notesMasterIdLst>
  <p:sldIdLst>
    <p:sldId id="2124817479" r:id="rId2"/>
  </p:sldIdLst>
  <p:sldSz cx="9144000" cy="5143500" type="screen16x9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23" userDrawn="1">
          <p15:clr>
            <a:srgbClr val="A4A3A4"/>
          </p15:clr>
        </p15:guide>
        <p15:guide id="2" pos="149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60B16"/>
    <a:srgbClr val="00A19B"/>
    <a:srgbClr val="38D430"/>
    <a:srgbClr val="2029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266"/>
    <p:restoredTop sz="97406"/>
  </p:normalViewPr>
  <p:slideViewPr>
    <p:cSldViewPr snapToGrid="0" snapToObjects="1">
      <p:cViewPr varScale="1">
        <p:scale>
          <a:sx n="165" d="100"/>
          <a:sy n="165" d="100"/>
        </p:scale>
        <p:origin x="1224" y="192"/>
      </p:cViewPr>
      <p:guideLst>
        <p:guide orient="horz" pos="1223"/>
        <p:guide pos="149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BE198F-C03D-7B44-B29A-E70CD5ABE62B}" type="datetimeFigureOut">
              <a:rPr lang="en-US" smtClean="0"/>
              <a:t>6/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0CF5C9-8D94-1547-AC0A-6F314CEA34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278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ADD0398F-D389-2196-F4CD-0F60C35B4A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9143999" cy="5143499"/>
          </a:xfrm>
          <a:prstGeom prst="rect">
            <a:avLst/>
          </a:prstGeom>
        </p:spPr>
      </p:pic>
      <p:pic>
        <p:nvPicPr>
          <p:cNvPr id="5" name="Picture 4" descr="A picture containing icon&#10;&#10;Description automatically generated">
            <a:extLst>
              <a:ext uri="{FF2B5EF4-FFF2-40B4-BE49-F238E27FC236}">
                <a16:creationId xmlns:a16="http://schemas.microsoft.com/office/drawing/2014/main" id="{7BD2D274-EFB9-E6E5-6542-C2B443EC7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37" r="17264" b="5909"/>
          <a:stretch/>
        </p:blipFill>
        <p:spPr>
          <a:xfrm>
            <a:off x="4233041" y="0"/>
            <a:ext cx="4910959" cy="5143499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551585D-9695-C807-F094-51BDBC6AF5B0}"/>
              </a:ext>
            </a:extLst>
          </p:cNvPr>
          <p:cNvGrpSpPr/>
          <p:nvPr userDrawn="1"/>
        </p:nvGrpSpPr>
        <p:grpSpPr>
          <a:xfrm>
            <a:off x="3972911" y="-441434"/>
            <a:ext cx="5171089" cy="5584934"/>
            <a:chOff x="4729655" y="0"/>
            <a:chExt cx="4544044" cy="4907706"/>
          </a:xfrm>
        </p:grpSpPr>
        <p:pic>
          <p:nvPicPr>
            <p:cNvPr id="7" name="Picture 6" descr="A picture containing electronics, black, dark, remote control&#10;&#10;Description automatically generated">
              <a:extLst>
                <a:ext uri="{FF2B5EF4-FFF2-40B4-BE49-F238E27FC236}">
                  <a16:creationId xmlns:a16="http://schemas.microsoft.com/office/drawing/2014/main" id="{C2DF82D0-84F9-AF23-7740-7508947392A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094" r="14346" b="16899"/>
            <a:stretch/>
          </p:blipFill>
          <p:spPr>
            <a:xfrm>
              <a:off x="4729655" y="0"/>
              <a:ext cx="4544044" cy="4907706"/>
            </a:xfrm>
            <a:prstGeom prst="rect">
              <a:avLst/>
            </a:prstGeom>
          </p:spPr>
        </p:pic>
        <p:pic>
          <p:nvPicPr>
            <p:cNvPr id="9" name="Picture 8" descr="Icon&#10;&#10;Description automatically generated">
              <a:extLst>
                <a:ext uri="{FF2B5EF4-FFF2-40B4-BE49-F238E27FC236}">
                  <a16:creationId xmlns:a16="http://schemas.microsoft.com/office/drawing/2014/main" id="{50091A03-59E1-C5F8-D5FA-7D0FBDD654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5571358" y="3143469"/>
              <a:ext cx="1176283" cy="117628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53369"/>
                </a:prstClr>
              </a:outerShdw>
            </a:effectLst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02A335E-E837-C43B-65AA-4B10A880CB88}"/>
              </a:ext>
            </a:extLst>
          </p:cNvPr>
          <p:cNvGrpSpPr/>
          <p:nvPr userDrawn="1"/>
        </p:nvGrpSpPr>
        <p:grpSpPr>
          <a:xfrm>
            <a:off x="276289" y="4671797"/>
            <a:ext cx="1435974" cy="296166"/>
            <a:chOff x="399652" y="4545651"/>
            <a:chExt cx="1381738" cy="28498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B6F521D-F1FC-7F98-C914-C84010C10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1350037" y="4564729"/>
              <a:ext cx="431353" cy="265902"/>
            </a:xfrm>
            <a:prstGeom prst="rect">
              <a:avLst/>
            </a:prstGeom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FBCC9D8-9E7B-F387-F9AA-7BD20EC15391}"/>
                </a:ext>
              </a:extLst>
            </p:cNvPr>
            <p:cNvCxnSpPr>
              <a:cxnSpLocks/>
            </p:cNvCxnSpPr>
            <p:nvPr/>
          </p:nvCxnSpPr>
          <p:spPr>
            <a:xfrm>
              <a:off x="1246189" y="4570373"/>
              <a:ext cx="0" cy="21947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2DE8CD9E-3CB3-FBBE-0279-0D501F1943A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9652" y="4545651"/>
              <a:ext cx="802552" cy="2813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64839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029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F6CA63-AA0B-9DD4-11E9-76681F8F6C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831611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54424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6D46E3A-C2F0-DCBC-DAA8-9E817E052B5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5317"/>
          <a:stretch/>
        </p:blipFill>
        <p:spPr>
          <a:xfrm>
            <a:off x="219421" y="1534731"/>
            <a:ext cx="3254240" cy="162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553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ily 3">
      <a:dk1>
        <a:srgbClr val="000000"/>
      </a:dk1>
      <a:lt1>
        <a:srgbClr val="FFFFFF"/>
      </a:lt1>
      <a:dk2>
        <a:srgbClr val="202845"/>
      </a:dk2>
      <a:lt2>
        <a:srgbClr val="E7E6E6"/>
      </a:lt2>
      <a:accent1>
        <a:srgbClr val="00A19B"/>
      </a:accent1>
      <a:accent2>
        <a:srgbClr val="38D330"/>
      </a:accent2>
      <a:accent3>
        <a:srgbClr val="E7E7E7"/>
      </a:accent3>
      <a:accent4>
        <a:srgbClr val="FF8300"/>
      </a:accent4>
      <a:accent5>
        <a:srgbClr val="FF3469"/>
      </a:accent5>
      <a:accent6>
        <a:srgbClr val="202845"/>
      </a:accent6>
      <a:hlink>
        <a:srgbClr val="00A19B"/>
      </a:hlink>
      <a:folHlink>
        <a:srgbClr val="38D33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ily Master deck template" id="{A030B749-7C9B-004C-816E-983D3DF73F9C}" vid="{5873CE6C-2AAB-474D-AA9B-A4DB15F10F2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0D387EF-340C-274B-A543-1BE595CC7320}">
  <we:reference id="wa104381063" version="1.0.0.1" store="en-GB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2</TotalTime>
  <Words>0</Words>
  <Application>Microsoft Macintosh PowerPoint</Application>
  <PresentationFormat>On-screen Show (16:9)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k Spavins</dc:creator>
  <cp:lastModifiedBy>Christoph Schmitt</cp:lastModifiedBy>
  <cp:revision>17</cp:revision>
  <dcterms:created xsi:type="dcterms:W3CDTF">2022-08-03T15:54:48Z</dcterms:created>
  <dcterms:modified xsi:type="dcterms:W3CDTF">2023-06-06T14:10:14Z</dcterms:modified>
</cp:coreProperties>
</file>